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8"/>
  </p:notesMasterIdLst>
  <p:handoutMasterIdLst>
    <p:handoutMasterId r:id="rId9"/>
  </p:handoutMasterIdLst>
  <p:sldIdLst>
    <p:sldId id="256" r:id="rId5"/>
    <p:sldId id="558" r:id="rId6"/>
    <p:sldId id="553" r:id="rId7"/>
  </p:sldIdLst>
  <p:sldSz cx="12192000" cy="6858000"/>
  <p:notesSz cx="9144000" cy="6858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8" autoAdjust="0"/>
    <p:restoredTop sz="96619" autoAdjust="0"/>
  </p:normalViewPr>
  <p:slideViewPr>
    <p:cSldViewPr snapToGrid="0">
      <p:cViewPr varScale="1">
        <p:scale>
          <a:sx n="119" d="100"/>
          <a:sy n="119" d="100"/>
        </p:scale>
        <p:origin x="216" y="96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3/11/2022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3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National &amp; Middle Market : 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igh on-boarding cos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ng-term contracts with low margin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rand reputation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arge population – bargaining power with hospitals, and strong analytic science – personalized experience, new innovative features experiment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via consulting firm hired by plan sponsor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igh degree of customization…  accommodating products, plans, networks…  United : employees telling what doctors they want to se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We promise cost down and local market presence, and guarantee (guarantee – financial penalty for national account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612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271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race Lee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723372" y="1243781"/>
            <a:ext cx="6284010" cy="2630356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mmercial- </a:t>
            </a: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ddle Market</a:t>
            </a:r>
            <a:b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/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ddle Market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57200" y="1916894"/>
            <a:ext cx="2237169" cy="32291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30318" y="1916894"/>
            <a:ext cx="2242245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57200" y="5146093"/>
            <a:ext cx="5598851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89934" y="1916895"/>
            <a:ext cx="2237169" cy="15827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14770" y="1916894"/>
            <a:ext cx="2237169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89933" y="3499645"/>
            <a:ext cx="2237169" cy="1646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56051" y="5146092"/>
            <a:ext cx="5592930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565290" y="226958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earing House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619521" y="2274023"/>
            <a:ext cx="9691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781535" y="2180043"/>
            <a:ext cx="97946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spect Customer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5841" y="2525692"/>
            <a:ext cx="979469" cy="2836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 Insured Admin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786985" y="3729124"/>
            <a:ext cx="9724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44260" y="3729124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/ 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795525" y="4405462"/>
            <a:ext cx="971927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25788" y="2636062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1619520" y="2999939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54217" y="2176833"/>
            <a:ext cx="9648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Account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54217" y="2526193"/>
            <a:ext cx="964829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Admin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44260" y="4071476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29866" y="5553524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 &amp; Sale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3271006" y="555452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search &amp; Development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4647677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1900436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B6B19FFA-AEB7-46A3-A194-0770BEA6AD40}"/>
              </a:ext>
            </a:extLst>
          </p:cNvPr>
          <p:cNvSpPr/>
          <p:nvPr/>
        </p:nvSpPr>
        <p:spPr>
          <a:xfrm>
            <a:off x="565290" y="2633988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fessionals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894BFB2C-280E-4D39-A221-46733B15BF72}"/>
              </a:ext>
            </a:extLst>
          </p:cNvPr>
          <p:cNvSpPr/>
          <p:nvPr/>
        </p:nvSpPr>
        <p:spPr>
          <a:xfrm>
            <a:off x="565290" y="299349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dicated Sales Rep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90630D62-CCE9-4012-85EB-C13BCD97663B}"/>
              </a:ext>
            </a:extLst>
          </p:cNvPr>
          <p:cNvSpPr/>
          <p:nvPr/>
        </p:nvSpPr>
        <p:spPr>
          <a:xfrm>
            <a:off x="1618337" y="335508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EB0B219B-28F8-4C80-A46F-AA5E67EF37A5}"/>
              </a:ext>
            </a:extLst>
          </p:cNvPr>
          <p:cNvSpPr/>
          <p:nvPr/>
        </p:nvSpPr>
        <p:spPr>
          <a:xfrm>
            <a:off x="554610" y="336063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oint Venture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C8040B72-5312-43B4-AAA2-9DE4F3C7EC55}"/>
              </a:ext>
            </a:extLst>
          </p:cNvPr>
          <p:cNvSpPr/>
          <p:nvPr/>
        </p:nvSpPr>
        <p:spPr>
          <a:xfrm>
            <a:off x="569450" y="3721489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O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13F6A098-3E2E-4E62-8CD2-F6323C7AFBF6}"/>
              </a:ext>
            </a:extLst>
          </p:cNvPr>
          <p:cNvSpPr/>
          <p:nvPr/>
        </p:nvSpPr>
        <p:spPr>
          <a:xfrm>
            <a:off x="9859954" y="2873166"/>
            <a:ext cx="1315162" cy="42865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ddle Market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y Insured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C162AE9F-DB8E-45B9-8DF1-5762EC2ADFFF}"/>
              </a:ext>
            </a:extLst>
          </p:cNvPr>
          <p:cNvSpPr/>
          <p:nvPr/>
        </p:nvSpPr>
        <p:spPr>
          <a:xfrm>
            <a:off x="2796536" y="4071476"/>
            <a:ext cx="9687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807A6E56-E30B-4F00-8017-23DF701E5CA9}"/>
              </a:ext>
            </a:extLst>
          </p:cNvPr>
          <p:cNvSpPr/>
          <p:nvPr/>
        </p:nvSpPr>
        <p:spPr>
          <a:xfrm>
            <a:off x="3834890" y="4405912"/>
            <a:ext cx="99211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ventative Health Ca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F61119E-2C19-47E9-8B53-BE6C69734488}"/>
              </a:ext>
            </a:extLst>
          </p:cNvPr>
          <p:cNvSpPr txBox="1"/>
          <p:nvPr/>
        </p:nvSpPr>
        <p:spPr>
          <a:xfrm>
            <a:off x="7173161" y="1916894"/>
            <a:ext cx="2237169" cy="1402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87C769-1AFC-40B1-8E43-E6D533E27894}"/>
              </a:ext>
            </a:extLst>
          </p:cNvPr>
          <p:cNvSpPr txBox="1"/>
          <p:nvPr/>
        </p:nvSpPr>
        <p:spPr>
          <a:xfrm>
            <a:off x="7173160" y="3319099"/>
            <a:ext cx="2237169" cy="1826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4E07E058-D411-415E-88D2-3EC40F84B160}"/>
              </a:ext>
            </a:extLst>
          </p:cNvPr>
          <p:cNvSpPr/>
          <p:nvPr/>
        </p:nvSpPr>
        <p:spPr>
          <a:xfrm>
            <a:off x="7774508" y="2576701"/>
            <a:ext cx="102975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s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60F75933-552A-4F16-A771-83C148781C64}"/>
              </a:ext>
            </a:extLst>
          </p:cNvPr>
          <p:cNvSpPr/>
          <p:nvPr/>
        </p:nvSpPr>
        <p:spPr>
          <a:xfrm>
            <a:off x="7773487" y="2224144"/>
            <a:ext cx="1030776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R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75A5D5F8-F590-4915-A166-C7C80C3390F4}"/>
              </a:ext>
            </a:extLst>
          </p:cNvPr>
          <p:cNvSpPr/>
          <p:nvPr/>
        </p:nvSpPr>
        <p:spPr>
          <a:xfrm>
            <a:off x="7248391" y="3632864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Aetna Health)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ABF9C39F-8B3E-4A7B-8808-CA38660BEB9F}"/>
              </a:ext>
            </a:extLst>
          </p:cNvPr>
          <p:cNvSpPr/>
          <p:nvPr/>
        </p:nvSpPr>
        <p:spPr>
          <a:xfrm>
            <a:off x="8317584" y="3632865"/>
            <a:ext cx="1013937" cy="29734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il</a:t>
            </a:r>
          </a:p>
        </p:txBody>
      </p:sp>
      <p:sp>
        <p:nvSpPr>
          <p:cNvPr id="89" name="Rounded Rectangle 58">
            <a:extLst>
              <a:ext uri="{FF2B5EF4-FFF2-40B4-BE49-F238E27FC236}">
                <a16:creationId xmlns:a16="http://schemas.microsoft.com/office/drawing/2014/main" id="{ED8E33EA-6EBF-4A24-BA80-14A1809DFE3C}"/>
              </a:ext>
            </a:extLst>
          </p:cNvPr>
          <p:cNvSpPr/>
          <p:nvPr/>
        </p:nvSpPr>
        <p:spPr>
          <a:xfrm>
            <a:off x="7256710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, Fax, Chat &amp; Email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id="{EA9F8E4D-C1F9-489D-A57D-772A56A1DD96}"/>
              </a:ext>
            </a:extLst>
          </p:cNvPr>
          <p:cNvSpPr/>
          <p:nvPr/>
        </p:nvSpPr>
        <p:spPr>
          <a:xfrm>
            <a:off x="7245322" y="3972111"/>
            <a:ext cx="1033554" cy="2914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 Portals</a:t>
            </a:r>
          </a:p>
        </p:txBody>
      </p:sp>
      <p:sp>
        <p:nvSpPr>
          <p:cNvPr id="91" name="Rounded Rectangle 58">
            <a:extLst>
              <a:ext uri="{FF2B5EF4-FFF2-40B4-BE49-F238E27FC236}">
                <a16:creationId xmlns:a16="http://schemas.microsoft.com/office/drawing/2014/main" id="{02AE29A9-B99A-400E-8439-8C7D645B7C1E}"/>
              </a:ext>
            </a:extLst>
          </p:cNvPr>
          <p:cNvSpPr/>
          <p:nvPr/>
        </p:nvSpPr>
        <p:spPr>
          <a:xfrm>
            <a:off x="8324226" y="3966265"/>
            <a:ext cx="1013937" cy="29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 to face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70B78775-9824-4C41-AA67-E7F95602894A}"/>
              </a:ext>
            </a:extLst>
          </p:cNvPr>
          <p:cNvSpPr/>
          <p:nvPr/>
        </p:nvSpPr>
        <p:spPr>
          <a:xfrm>
            <a:off x="1625151" y="371910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95" name="Rounded Rectangle 58">
            <a:extLst>
              <a:ext uri="{FF2B5EF4-FFF2-40B4-BE49-F238E27FC236}">
                <a16:creationId xmlns:a16="http://schemas.microsoft.com/office/drawing/2014/main" id="{6EA61335-954D-4280-86CB-2326A89DB0F1}"/>
              </a:ext>
            </a:extLst>
          </p:cNvPr>
          <p:cNvSpPr/>
          <p:nvPr/>
        </p:nvSpPr>
        <p:spPr>
          <a:xfrm>
            <a:off x="9859953" y="3358622"/>
            <a:ext cx="1315161" cy="4286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ddle Market 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lf Insured (ASO)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13AEBE58-1381-4DAE-95AB-2495114482D5}"/>
              </a:ext>
            </a:extLst>
          </p:cNvPr>
          <p:cNvSpPr/>
          <p:nvPr/>
        </p:nvSpPr>
        <p:spPr>
          <a:xfrm>
            <a:off x="2782042" y="2854069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ervice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1FE2A7CF-9A6B-4CC3-96ED-79403306E323}"/>
              </a:ext>
            </a:extLst>
          </p:cNvPr>
          <p:cNvSpPr/>
          <p:nvPr/>
        </p:nvSpPr>
        <p:spPr>
          <a:xfrm>
            <a:off x="3856690" y="2854800"/>
            <a:ext cx="964830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National Network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F7E409D1-E74B-43A1-9BE5-6F94541EE4FE}"/>
              </a:ext>
            </a:extLst>
          </p:cNvPr>
          <p:cNvSpPr/>
          <p:nvPr/>
        </p:nvSpPr>
        <p:spPr>
          <a:xfrm>
            <a:off x="9859953" y="2518055"/>
            <a:ext cx="131516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AE49E49-D6A0-4A79-882A-4C0069873376}"/>
              </a:ext>
            </a:extLst>
          </p:cNvPr>
          <p:cNvSpPr/>
          <p:nvPr/>
        </p:nvSpPr>
        <p:spPr>
          <a:xfrm>
            <a:off x="7773487" y="2914740"/>
            <a:ext cx="1029755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ee Department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5A833B64-9A8C-4DFC-A5E8-9F34137AC031}"/>
              </a:ext>
            </a:extLst>
          </p:cNvPr>
          <p:cNvSpPr/>
          <p:nvPr/>
        </p:nvSpPr>
        <p:spPr>
          <a:xfrm>
            <a:off x="2802891" y="4761307"/>
            <a:ext cx="9687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nute Clinic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2E1DBE7A-99BA-41E9-B640-19B5B7EC75AC}"/>
              </a:ext>
            </a:extLst>
          </p:cNvPr>
          <p:cNvSpPr/>
          <p:nvPr/>
        </p:nvSpPr>
        <p:spPr>
          <a:xfrm>
            <a:off x="2779458" y="3163667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 Providers</a:t>
            </a: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id="{49FF5883-4915-4068-A84A-15BBD8721929}"/>
              </a:ext>
            </a:extLst>
          </p:cNvPr>
          <p:cNvSpPr/>
          <p:nvPr/>
        </p:nvSpPr>
        <p:spPr>
          <a:xfrm>
            <a:off x="3834891" y="4756885"/>
            <a:ext cx="99211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Care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CCAEAAC8-8575-4943-B47E-224153638174}"/>
              </a:ext>
            </a:extLst>
          </p:cNvPr>
          <p:cNvSpPr/>
          <p:nvPr/>
        </p:nvSpPr>
        <p:spPr>
          <a:xfrm>
            <a:off x="8328293" y="430097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deo (</a:t>
            </a:r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leDoc</a:t>
            </a:r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5706D2E1-C9BA-4BBD-B7F4-16B50C704A8C}"/>
              </a:ext>
            </a:extLst>
          </p:cNvPr>
          <p:cNvSpPr/>
          <p:nvPr/>
        </p:nvSpPr>
        <p:spPr>
          <a:xfrm>
            <a:off x="57554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PA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id="{6DFB57DA-CF4B-45E4-84A6-7E4067E22821}"/>
              </a:ext>
            </a:extLst>
          </p:cNvPr>
          <p:cNvSpPr/>
          <p:nvPr/>
        </p:nvSpPr>
        <p:spPr>
          <a:xfrm>
            <a:off x="1625151" y="4080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xiliary Product Outsource</a:t>
            </a: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id="{9E27AE9E-34E2-43F9-9E47-731AC1CF70B9}"/>
              </a:ext>
            </a:extLst>
          </p:cNvPr>
          <p:cNvSpPr/>
          <p:nvPr/>
        </p:nvSpPr>
        <p:spPr>
          <a:xfrm>
            <a:off x="5171814" y="1684424"/>
            <a:ext cx="1759251" cy="174024"/>
          </a:xfrm>
          <a:prstGeom prst="roundRect">
            <a:avLst/>
          </a:prstGeom>
          <a:solidFill>
            <a:srgbClr val="FFFF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/ Service / Delivery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97B5E3C0-38A6-4917-A351-B49537FE2DCD}"/>
              </a:ext>
            </a:extLst>
          </p:cNvPr>
          <p:cNvSpPr/>
          <p:nvPr/>
        </p:nvSpPr>
        <p:spPr>
          <a:xfrm>
            <a:off x="5261526" y="2227844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tter &amp; Easy Service</a:t>
            </a:r>
          </a:p>
        </p:txBody>
      </p:sp>
      <p:sp>
        <p:nvSpPr>
          <p:cNvPr id="103" name="Rounded Rectangle 58">
            <a:extLst>
              <a:ext uri="{FF2B5EF4-FFF2-40B4-BE49-F238E27FC236}">
                <a16:creationId xmlns:a16="http://schemas.microsoft.com/office/drawing/2014/main" id="{031E0193-C8D0-4158-A5DA-1630E4D14245}"/>
              </a:ext>
            </a:extLst>
          </p:cNvPr>
          <p:cNvSpPr/>
          <p:nvPr/>
        </p:nvSpPr>
        <p:spPr>
          <a:xfrm>
            <a:off x="5261526" y="3977390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st Containment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2F1F98BA-2306-454E-9A2C-19EF1644C223}"/>
              </a:ext>
            </a:extLst>
          </p:cNvPr>
          <p:cNvSpPr/>
          <p:nvPr/>
        </p:nvSpPr>
        <p:spPr>
          <a:xfrm>
            <a:off x="5261526" y="4334227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Assets</a:t>
            </a:r>
          </a:p>
        </p:txBody>
      </p:sp>
      <p:sp>
        <p:nvSpPr>
          <p:cNvPr id="105" name="Rounded Rectangle 58">
            <a:extLst>
              <a:ext uri="{FF2B5EF4-FFF2-40B4-BE49-F238E27FC236}">
                <a16:creationId xmlns:a16="http://schemas.microsoft.com/office/drawing/2014/main" id="{149C055E-65E1-44A2-B614-C22416C3AAFC}"/>
              </a:ext>
            </a:extLst>
          </p:cNvPr>
          <p:cNvSpPr/>
          <p:nvPr/>
        </p:nvSpPr>
        <p:spPr>
          <a:xfrm>
            <a:off x="5261526" y="4685544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 Premium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D84FA76B-10E1-41EE-9F00-73C5B5A453BA}"/>
              </a:ext>
            </a:extLst>
          </p:cNvPr>
          <p:cNvSpPr/>
          <p:nvPr/>
        </p:nvSpPr>
        <p:spPr>
          <a:xfrm>
            <a:off x="5261526" y="257695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Member Cost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6D1A8CF-0904-4A30-82EA-5DC8B2603722}"/>
              </a:ext>
            </a:extLst>
          </p:cNvPr>
          <p:cNvSpPr/>
          <p:nvPr/>
        </p:nvSpPr>
        <p:spPr>
          <a:xfrm>
            <a:off x="5261526" y="2931035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and Recognition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08137A62-8A15-4057-B4B6-AB1A4CD525BA}"/>
              </a:ext>
            </a:extLst>
          </p:cNvPr>
          <p:cNvSpPr/>
          <p:nvPr/>
        </p:nvSpPr>
        <p:spPr>
          <a:xfrm>
            <a:off x="5261526" y="3285112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Quality of Service</a:t>
            </a:r>
          </a:p>
        </p:txBody>
      </p:sp>
      <p:sp>
        <p:nvSpPr>
          <p:cNvPr id="112" name="Rounded Rectangle 58">
            <a:extLst>
              <a:ext uri="{FF2B5EF4-FFF2-40B4-BE49-F238E27FC236}">
                <a16:creationId xmlns:a16="http://schemas.microsoft.com/office/drawing/2014/main" id="{B6CAABE8-6412-4DFF-B83B-3C25394DB7DA}"/>
              </a:ext>
            </a:extLst>
          </p:cNvPr>
          <p:cNvSpPr/>
          <p:nvPr/>
        </p:nvSpPr>
        <p:spPr>
          <a:xfrm>
            <a:off x="5261526" y="3628276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igger National Network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67BDE04E-56CE-4760-910B-FACAB0FB4514}"/>
              </a:ext>
            </a:extLst>
          </p:cNvPr>
          <p:cNvSpPr/>
          <p:nvPr/>
        </p:nvSpPr>
        <p:spPr>
          <a:xfrm>
            <a:off x="3852542" y="3182226"/>
            <a:ext cx="987995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ecast (Cost &amp; Rate)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95350761-7DE4-437D-A2BC-4DEC41EE93FC}"/>
              </a:ext>
            </a:extLst>
          </p:cNvPr>
          <p:cNvSpPr/>
          <p:nvPr/>
        </p:nvSpPr>
        <p:spPr>
          <a:xfrm>
            <a:off x="613640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(Per Member Per Month)</a:t>
            </a:r>
          </a:p>
        </p:txBody>
      </p:sp>
      <p:sp>
        <p:nvSpPr>
          <p:cNvPr id="81" name="Rounded Rectangle 58">
            <a:extLst>
              <a:ext uri="{FF2B5EF4-FFF2-40B4-BE49-F238E27FC236}">
                <a16:creationId xmlns:a16="http://schemas.microsoft.com/office/drawing/2014/main" id="{8FC3317C-6FA9-4646-B510-26A8499604B5}"/>
              </a:ext>
            </a:extLst>
          </p:cNvPr>
          <p:cNvSpPr/>
          <p:nvPr/>
        </p:nvSpPr>
        <p:spPr>
          <a:xfrm>
            <a:off x="8871980" y="5590779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op-loss insurance for ASO</a:t>
            </a:r>
          </a:p>
        </p:txBody>
      </p:sp>
      <p:sp>
        <p:nvSpPr>
          <p:cNvPr id="82" name="Rounded Rectangle 58">
            <a:extLst>
              <a:ext uri="{FF2B5EF4-FFF2-40B4-BE49-F238E27FC236}">
                <a16:creationId xmlns:a16="http://schemas.microsoft.com/office/drawing/2014/main" id="{EAC1765D-DDCD-47D5-B6D7-90138BC3C38D}"/>
              </a:ext>
            </a:extLst>
          </p:cNvPr>
          <p:cNvSpPr/>
          <p:nvPr/>
        </p:nvSpPr>
        <p:spPr>
          <a:xfrm>
            <a:off x="10238408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Investment</a:t>
            </a:r>
          </a:p>
        </p:txBody>
      </p:sp>
      <p:sp>
        <p:nvSpPr>
          <p:cNvPr id="83" name="Rounded Rectangle 58">
            <a:extLst>
              <a:ext uri="{FF2B5EF4-FFF2-40B4-BE49-F238E27FC236}">
                <a16:creationId xmlns:a16="http://schemas.microsoft.com/office/drawing/2014/main" id="{34A495FC-BD22-40F0-9B44-B4E94F16C22A}"/>
              </a:ext>
            </a:extLst>
          </p:cNvPr>
          <p:cNvSpPr/>
          <p:nvPr/>
        </p:nvSpPr>
        <p:spPr>
          <a:xfrm>
            <a:off x="7505552" y="5587990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ASO</a:t>
            </a:r>
          </a:p>
        </p:txBody>
      </p:sp>
    </p:spTree>
    <p:extLst>
      <p:ext uri="{BB962C8B-B14F-4D97-AF65-F5344CB8AC3E}">
        <p14:creationId xmlns:p14="http://schemas.microsoft.com/office/powerpoint/2010/main" val="167593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CBEF2-3FE7-4CC2-B35B-68E9FB682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ss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E29750-8D56-4AF7-A90E-4ABE1B4212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52098D7-0205-4D12-801D-4EAA34C6D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36873"/>
              </p:ext>
            </p:extLst>
          </p:nvPr>
        </p:nvGraphicFramePr>
        <p:xfrm>
          <a:off x="459581" y="1775109"/>
          <a:ext cx="11272838" cy="45974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434759">
                  <a:extLst>
                    <a:ext uri="{9D8B030D-6E8A-4147-A177-3AD203B41FA5}">
                      <a16:colId xmlns:a16="http://schemas.microsoft.com/office/drawing/2014/main" val="956231960"/>
                    </a:ext>
                  </a:extLst>
                </a:gridCol>
                <a:gridCol w="8838079">
                  <a:extLst>
                    <a:ext uri="{9D8B030D-6E8A-4147-A177-3AD203B41FA5}">
                      <a16:colId xmlns:a16="http://schemas.microsoft.com/office/drawing/2014/main" val="19004979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lossar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escrip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3897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linical professional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harmacists, nurse practitioners, community liaisons and social works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489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P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dividual Partitional Association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39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S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dministrative Services Only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9891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O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untable Care Org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78647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top-loss insurance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Aetna provides stop-loss insurance for national account and middle market ASO.  Stop-loss insurance is based on cash flow monthly for claims.</a:t>
                      </a:r>
                      <a:endParaRPr lang="en-US" sz="11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940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FA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etna Funding Advantage for small group </a:t>
                      </a:r>
                      <a:endParaRPr lang="en-US" sz="1400" dirty="0">
                        <a:latin typeface="Calibri Light" panose="020F0302020204030204" pitchFamily="34" charset="0"/>
                        <a:ea typeface="Batang" panose="02030600000101010101" pitchFamily="18" charset="-127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356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etna Community Care. </a:t>
                      </a:r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ace to Face = Minute Clinic, Pharmacy, AC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84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P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Third Party Administr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852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Providers, Hospitals, Clinical Profession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28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Auxiliary Product Out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ision and Dental Partnerships for Care and Welln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1278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Value Pro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Calibri Light" panose="020F0302020204030204" pitchFamily="34" charset="0"/>
                          <a:ea typeface="Batang" panose="02030600000101010101" pitchFamily="18" charset="-127"/>
                          <a:cs typeface="Calibri Light" panose="020F0302020204030204" pitchFamily="34" charset="0"/>
                        </a:rPr>
                        <a:t>Based on </a:t>
                      </a:r>
                      <a:r>
                        <a:rPr lang="en-US" sz="1400" b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etter Service, Easy Service, and Lower 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756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17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8D1F129B-B69D-4CBB-A8D8-B71A435298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4F0FD7-590D-477C-84D8-04F64A55F94D}">
  <ds:schemaRefs>
    <ds:schemaRef ds:uri="640900fa-8b29-4318-ac43-6b50d10474d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ea8bc4d-1db1-4837-b00f-6e616e24289c"/>
    <ds:schemaRef ds:uri="http://www.w3.org/XML/1998/namespace"/>
    <ds:schemaRef ds:uri="http://purl.org/dc/dcmitype/"/>
    <ds:schemaRef ds:uri="b1cf5257-8992-498b-aff9-2ccb2706890d"/>
    <ds:schemaRef ds:uri="f8f3ac21-d33a-4f17-9d4e-9f9f14b93e8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8948</TotalTime>
  <Words>380</Words>
  <Application>Microsoft Office PowerPoint</Application>
  <PresentationFormat>Widescreen</PresentationFormat>
  <Paragraphs>112</Paragraphs>
  <Slides>3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OfficeoftheCTO_theme_100218</vt:lpstr>
      <vt:lpstr>Commercial- Middle Market Business Canvas</vt:lpstr>
      <vt:lpstr>Business Canvas</vt:lpstr>
      <vt:lpstr>Glossary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Liu, Lala</cp:lastModifiedBy>
  <cp:revision>796</cp:revision>
  <cp:lastPrinted>2017-04-13T12:11:49Z</cp:lastPrinted>
  <dcterms:created xsi:type="dcterms:W3CDTF">2017-11-30T21:23:10Z</dcterms:created>
  <dcterms:modified xsi:type="dcterms:W3CDTF">2022-03-11T18:0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378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